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335" r:id="rId4"/>
    <p:sldMasterId id="2147484359" r:id="rId5"/>
  </p:sldMasterIdLst>
  <p:notesMasterIdLst>
    <p:notesMasterId r:id="rId13"/>
  </p:notesMasterIdLst>
  <p:handoutMasterIdLst>
    <p:handoutMasterId r:id="rId14"/>
  </p:handoutMasterIdLst>
  <p:sldIdLst>
    <p:sldId id="256" r:id="rId6"/>
    <p:sldId id="261" r:id="rId7"/>
    <p:sldId id="263" r:id="rId8"/>
    <p:sldId id="258" r:id="rId9"/>
    <p:sldId id="259" r:id="rId10"/>
    <p:sldId id="260" r:id="rId11"/>
    <p:sldId id="257" r:id="rId12"/>
  </p:sldIdLst>
  <p:sldSz cx="12190413" cy="6858000"/>
  <p:notesSz cx="6888163" cy="100203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619" userDrawn="1">
          <p15:clr>
            <a:srgbClr val="A4A3A4"/>
          </p15:clr>
        </p15:guide>
        <p15:guide id="2" orient="horz" pos="4085" userDrawn="1">
          <p15:clr>
            <a:srgbClr val="A4A3A4"/>
          </p15:clr>
        </p15:guide>
        <p15:guide id="3" pos="7423" userDrawn="1">
          <p15:clr>
            <a:srgbClr val="A4A3A4"/>
          </p15:clr>
        </p15:guide>
        <p15:guide id="4" orient="horz" pos="109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857">
          <p15:clr>
            <a:srgbClr val="A4A3A4"/>
          </p15:clr>
        </p15:guide>
        <p15:guide id="4" pos="19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C6C6"/>
    <a:srgbClr val="00BCFF"/>
    <a:srgbClr val="74C713"/>
    <a:srgbClr val="00A5E2"/>
    <a:srgbClr val="E61A5D"/>
    <a:srgbClr val="FF3162"/>
    <a:srgbClr val="624963"/>
    <a:srgbClr val="D30F4B"/>
    <a:srgbClr val="0091DF"/>
    <a:srgbClr val="0061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47CBDF2-E5F8-4A04-B4D9-00093DB22F32}" v="1" dt="2019-09-27T11:10:18.7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455" autoAdjust="0"/>
  </p:normalViewPr>
  <p:slideViewPr>
    <p:cSldViewPr snapToGrid="0" snapToObjects="1" showGuides="1">
      <p:cViewPr varScale="1">
        <p:scale>
          <a:sx n="76" d="100"/>
          <a:sy n="76" d="100"/>
        </p:scale>
        <p:origin x="318" y="96"/>
      </p:cViewPr>
      <p:guideLst>
        <p:guide pos="619"/>
        <p:guide orient="horz" pos="4085"/>
        <p:guide pos="7423"/>
        <p:guide orient="horz" pos="109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75" d="100"/>
          <a:sy n="75" d="100"/>
        </p:scale>
        <p:origin x="-4050" y="-114"/>
      </p:cViewPr>
      <p:guideLst>
        <p:guide orient="horz" pos="2880"/>
        <p:guide pos="2160"/>
        <p:guide orient="horz" pos="2857"/>
        <p:guide pos="19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andro Sartini" userId="70cc70d6-98de-43ac-be0e-189ad05ddabf" providerId="ADAL" clId="{B47CBDF2-E5F8-4A04-B4D9-00093DB22F32}"/>
    <pc:docChg chg="undo modSld">
      <pc:chgData name="Leandro Sartini" userId="70cc70d6-98de-43ac-be0e-189ad05ddabf" providerId="ADAL" clId="{B47CBDF2-E5F8-4A04-B4D9-00093DB22F32}" dt="2019-09-27T11:40:33.189" v="54" actId="1076"/>
      <pc:docMkLst>
        <pc:docMk/>
      </pc:docMkLst>
      <pc:sldChg chg="modSp">
        <pc:chgData name="Leandro Sartini" userId="70cc70d6-98de-43ac-be0e-189ad05ddabf" providerId="ADAL" clId="{B47CBDF2-E5F8-4A04-B4D9-00093DB22F32}" dt="2019-09-27T11:40:33.189" v="54" actId="1076"/>
        <pc:sldMkLst>
          <pc:docMk/>
          <pc:sldMk cId="1986970266" sldId="256"/>
        </pc:sldMkLst>
        <pc:picChg chg="mod">
          <ac:chgData name="Leandro Sartini" userId="70cc70d6-98de-43ac-be0e-189ad05ddabf" providerId="ADAL" clId="{B47CBDF2-E5F8-4A04-B4D9-00093DB22F32}" dt="2019-09-27T11:40:33.189" v="54" actId="1076"/>
          <ac:picMkLst>
            <pc:docMk/>
            <pc:sldMk cId="1986970266" sldId="256"/>
            <ac:picMk id="11" creationId="{21E4F7E7-6E2D-4B9F-8A1B-70E5C47E45EE}"/>
          </ac:picMkLst>
        </pc:picChg>
      </pc:sldChg>
      <pc:sldChg chg="modSp">
        <pc:chgData name="Leandro Sartini" userId="70cc70d6-98de-43ac-be0e-189ad05ddabf" providerId="ADAL" clId="{B47CBDF2-E5F8-4A04-B4D9-00093DB22F32}" dt="2019-09-25T21:03:10.247" v="53" actId="20577"/>
        <pc:sldMkLst>
          <pc:docMk/>
          <pc:sldMk cId="4006958052" sldId="263"/>
        </pc:sldMkLst>
        <pc:spChg chg="mod">
          <ac:chgData name="Leandro Sartini" userId="70cc70d6-98de-43ac-be0e-189ad05ddabf" providerId="ADAL" clId="{B47CBDF2-E5F8-4A04-B4D9-00093DB22F32}" dt="2019-09-25T21:03:10.247" v="53" actId="20577"/>
          <ac:spMkLst>
            <pc:docMk/>
            <pc:sldMk cId="4006958052" sldId="263"/>
            <ac:spMk id="3" creationId="{66460CC3-D489-437C-8FB8-7524CE17328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82216" y="176715"/>
            <a:ext cx="5983605" cy="17856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216864" y="9671310"/>
            <a:ext cx="492259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9/27/2019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494926" y="9671310"/>
            <a:ext cx="5567925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75703" y="9671310"/>
            <a:ext cx="190528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41769" y="192454"/>
            <a:ext cx="364262" cy="364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emf"/><Relationship Id="rId1" Type="http://schemas.openxmlformats.org/officeDocument/2006/relationships/theme" Target="../theme/theme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53988" y="617538"/>
            <a:ext cx="3292475" cy="1852612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7598" tIns="43799" rIns="87598" bIns="4379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2788" y="2938490"/>
            <a:ext cx="6506513" cy="646503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9933" y="183269"/>
            <a:ext cx="5900408" cy="185193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157508" y="9658526"/>
            <a:ext cx="540250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9/27/2019</a:t>
            </a:fld>
            <a:endParaRPr lang="en-US" dirty="0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47782" y="9658526"/>
            <a:ext cx="5465661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2834" y="9658526"/>
            <a:ext cx="208896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98071" y="2056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9268C1-3555-40F0-9F50-FDE1FC183A0D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305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4ACC3FA-741F-4DD7-A29C-E85845E74CE5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49"/>
            <a:ext cx="5220000" cy="2592001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pt-BR"/>
              <a:t>Clique no ícone para adicionar uma imagem</a:t>
            </a:r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57423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908" userDrawn="1">
          <p15:clr>
            <a:srgbClr val="FBAE40"/>
          </p15:clr>
        </p15:guide>
        <p15:guide id="2" pos="4134" userDrawn="1">
          <p15:clr>
            <a:srgbClr val="FBAE40"/>
          </p15:clr>
        </p15:guide>
        <p15:guide id="3" orient="horz" pos="2228" userDrawn="1">
          <p15:clr>
            <a:srgbClr val="FBAE40"/>
          </p15:clr>
        </p15:guide>
        <p15:guide id="4" orient="horz" pos="2455" userDrawn="1">
          <p15:clr>
            <a:srgbClr val="FBAE40"/>
          </p15:clr>
        </p15:guide>
        <p15:guide id="5" pos="619" userDrawn="1">
          <p15:clr>
            <a:srgbClr val="FBAE40"/>
          </p15:clr>
        </p15:guide>
        <p15:guide id="6" pos="7423" userDrawn="1">
          <p15:clr>
            <a:srgbClr val="FBAE40"/>
          </p15:clr>
        </p15:guide>
        <p15:guide id="7" orient="horz" pos="1094" userDrawn="1">
          <p15:clr>
            <a:srgbClr val="FBAE40"/>
          </p15:clr>
        </p15:guide>
        <p15:guide id="8" orient="horz" pos="408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9B50E6-EFC3-4D55-B5FD-6C07B3F1809C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424933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4086" userDrawn="1">
          <p15:clr>
            <a:srgbClr val="FBAE40"/>
          </p15:clr>
        </p15:guide>
        <p15:guide id="4" orient="horz" pos="1094" userDrawn="1">
          <p15:clr>
            <a:srgbClr val="FBAE40"/>
          </p15:clr>
        </p15:guide>
        <p15:guide id="5" pos="2150" userDrawn="1">
          <p15:clr>
            <a:srgbClr val="FBAE40"/>
          </p15:clr>
        </p15:guide>
        <p15:guide id="6" pos="2376" userDrawn="1">
          <p15:clr>
            <a:srgbClr val="FBAE40"/>
          </p15:clr>
        </p15:guide>
        <p15:guide id="7" pos="3908" userDrawn="1">
          <p15:clr>
            <a:srgbClr val="FBAE40"/>
          </p15:clr>
        </p15:guide>
        <p15:guide id="8" pos="4021" userDrawn="1">
          <p15:clr>
            <a:srgbClr val="FBAE40"/>
          </p15:clr>
        </p15:guide>
        <p15:guide id="9" pos="4134" userDrawn="1">
          <p15:clr>
            <a:srgbClr val="FBAE40"/>
          </p15:clr>
        </p15:guide>
        <p15:guide id="10" pos="5667" userDrawn="1">
          <p15:clr>
            <a:srgbClr val="FBAE40"/>
          </p15:clr>
        </p15:guide>
        <p15:guide id="11" pos="5894" userDrawn="1">
          <p15:clr>
            <a:srgbClr val="FBAE40"/>
          </p15:clr>
        </p15:guide>
        <p15:guide id="13" orient="horz" pos="2704" userDrawn="1">
          <p15:clr>
            <a:srgbClr val="FBAE40"/>
          </p15:clr>
        </p15:guide>
        <p15:guide id="14" orient="horz" pos="2591" userDrawn="1">
          <p15:clr>
            <a:srgbClr val="FBAE40"/>
          </p15:clr>
        </p15:guide>
        <p15:guide id="15" orient="horz" pos="247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0EA7F3AE-922E-4A2E-A184-1A6BB453B592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6018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2110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2704" userDrawn="1">
          <p15:clr>
            <a:srgbClr val="FBAE40"/>
          </p15:clr>
        </p15:guide>
        <p15:guide id="5" orient="horz" pos="2478" userDrawn="1">
          <p15:clr>
            <a:srgbClr val="FBAE40"/>
          </p15:clr>
        </p15:guide>
        <p15:guide id="6" orient="horz" pos="4086" userDrawn="1">
          <p15:clr>
            <a:srgbClr val="FBAE40"/>
          </p15:clr>
        </p15:guide>
        <p15:guide id="7" orient="horz" pos="2591" userDrawn="1">
          <p15:clr>
            <a:srgbClr val="FBAE40"/>
          </p15:clr>
        </p15:guide>
        <p15:guide id="8" pos="2150" userDrawn="1">
          <p15:clr>
            <a:srgbClr val="FBAE40"/>
          </p15:clr>
        </p15:guide>
        <p15:guide id="9" pos="2376" userDrawn="1">
          <p15:clr>
            <a:srgbClr val="FBAE40"/>
          </p15:clr>
        </p15:guide>
        <p15:guide id="10" pos="3908" userDrawn="1">
          <p15:clr>
            <a:srgbClr val="FBAE40"/>
          </p15:clr>
        </p15:guide>
        <p15:guide id="11" pos="4021" userDrawn="1">
          <p15:clr>
            <a:srgbClr val="FBAE40"/>
          </p15:clr>
        </p15:guide>
        <p15:guide id="12" pos="4134" userDrawn="1">
          <p15:clr>
            <a:srgbClr val="FBAE40"/>
          </p15:clr>
        </p15:guide>
        <p15:guide id="13" pos="5667" userDrawn="1">
          <p15:clr>
            <a:srgbClr val="FBAE40"/>
          </p15:clr>
        </p15:guide>
        <p15:guide id="14" pos="589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F5D252DB-0ED2-464E-8741-6A8F1AFB279A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3747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2478" userDrawn="1">
          <p15:clr>
            <a:srgbClr val="FBAE40"/>
          </p15:clr>
        </p15:guide>
        <p15:guide id="5" orient="horz" pos="2591" userDrawn="1">
          <p15:clr>
            <a:srgbClr val="FBAE40"/>
          </p15:clr>
        </p15:guide>
        <p15:guide id="6" orient="horz" pos="2704" userDrawn="1">
          <p15:clr>
            <a:srgbClr val="FBAE40"/>
          </p15:clr>
        </p15:guide>
        <p15:guide id="7" orient="horz" pos="4085" userDrawn="1">
          <p15:clr>
            <a:srgbClr val="FBAE40"/>
          </p15:clr>
        </p15:guide>
        <p15:guide id="8" pos="2150" userDrawn="1">
          <p15:clr>
            <a:srgbClr val="FBAE40"/>
          </p15:clr>
        </p15:guide>
        <p15:guide id="9" pos="2376" userDrawn="1">
          <p15:clr>
            <a:srgbClr val="FBAE40"/>
          </p15:clr>
        </p15:guide>
        <p15:guide id="10" pos="3908" userDrawn="1">
          <p15:clr>
            <a:srgbClr val="FBAE40"/>
          </p15:clr>
        </p15:guide>
        <p15:guide id="11" pos="4021" userDrawn="1">
          <p15:clr>
            <a:srgbClr val="FBAE40"/>
          </p15:clr>
        </p15:guide>
        <p15:guide id="12" pos="4134" userDrawn="1">
          <p15:clr>
            <a:srgbClr val="FBAE40"/>
          </p15:clr>
        </p15:guide>
        <p15:guide id="14" pos="5667" userDrawn="1">
          <p15:clr>
            <a:srgbClr val="FBAE40"/>
          </p15:clr>
        </p15:guide>
        <p15:guide id="15" pos="58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CF3B6FA-5BE5-423F-AE86-D3FCA9B0BA1B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2726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663" userDrawn="1">
          <p15:clr>
            <a:srgbClr val="FBAE40"/>
          </p15:clr>
        </p15:guide>
        <p15:guide id="4" orient="horz" pos="408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4D65EF7-0DB8-46AD-91BA-1361F976A2E5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pt-BR"/>
              <a:t>Clique no ícone para adicionar uma image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759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1DAC8AC-69B9-434F-A771-029EB0ECF11E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pt-BR"/>
              <a:t>Clique no ícone para adicionar uma imagem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5582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576CC04-5BC7-4D90-881D-F4830D1A1CA8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pt-BR"/>
              <a:t>Clique no ícone para adicionar uma imagem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1881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2804E57-7BF7-4369-9EB4-F1EAB6B023F9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pt-BR"/>
              <a:t>Clique no ícone para adicionar uma imagem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76484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7BCFA8F-DD28-4C84-B50E-A66183C868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802" y="1122363"/>
            <a:ext cx="914281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E7010BF-5F34-4184-B5DA-598E7EA189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802" y="3602038"/>
            <a:ext cx="914281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766300C-1A27-4AD5-B9D9-A5DC2F3F16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64FA9-3BC8-4CBD-84D2-EA386FB22302}" type="datetimeFigureOut">
              <a:rPr lang="pt-BR" smtClean="0"/>
              <a:t>27/09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5EF88E5-93DF-44B1-B228-775B6BA41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0B898F-6B0F-4162-BAF2-335362F6B9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EAE790-119C-4CD4-BB11-5EEC216BD4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41384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F33C267-8000-477D-991A-6C15839D7000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417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C2F4E86-81ED-40E9-BB48-96F6888B23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A06022A-9BBE-43D2-A0BA-959501A69B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DCE4E18-EACE-428F-A37A-5CFB04ACD9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64FA9-3BC8-4CBD-84D2-EA386FB22302}" type="datetimeFigureOut">
              <a:rPr lang="pt-BR" smtClean="0"/>
              <a:t>27/09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77F48AE-5168-4592-8D43-486F4E3B6B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DF6310E-ED1E-4D03-82CA-9987C643FD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EAE790-119C-4CD4-BB11-5EEC216BD4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59547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6C437AC-F8DA-4584-BBBD-F473268A7F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742" y="1709739"/>
            <a:ext cx="10514231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838B679-005B-42B9-80BD-1ED5D1406D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742" y="4589464"/>
            <a:ext cx="10514231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665E371-91D8-4C7D-836E-FECD0234C8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64FA9-3BC8-4CBD-84D2-EA386FB22302}" type="datetimeFigureOut">
              <a:rPr lang="pt-BR" smtClean="0"/>
              <a:t>27/09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210B5FA-7DC5-4EFD-AD49-EE3D334ED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CFC4216-6F6C-4477-A0AE-38F0AC0ACC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EAE790-119C-4CD4-BB11-5EEC216BD4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75096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7CBD064-2CBF-4369-BD32-AFACBBE7F6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457B2B9-3720-424F-8563-63F0ED49861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091" y="1825625"/>
            <a:ext cx="5180926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8667D19-D9D7-4FE2-991B-35756FA536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1396" y="1825625"/>
            <a:ext cx="5180926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5B50E91-910D-48C5-B99A-89FB94FA6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64FA9-3BC8-4CBD-84D2-EA386FB22302}" type="datetimeFigureOut">
              <a:rPr lang="pt-BR" smtClean="0"/>
              <a:t>27/09/2019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95D1D5C-7E52-4F87-A7A6-7D4E5F2DF1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EC9B4A4-B8BA-4B11-B150-D37F2CAEFF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EAE790-119C-4CD4-BB11-5EEC216BD4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81065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C9D498D-B6B9-49D6-858E-64068A18C4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679" y="365126"/>
            <a:ext cx="10514231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4A1F770-6D5D-440C-92B4-D56FD0D2A4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679" y="1681163"/>
            <a:ext cx="51571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902971B3-9020-4C48-B6AC-4DAE37595F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679" y="2505075"/>
            <a:ext cx="5157116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FD8101D8-033D-4AEB-9580-6B51C97323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1397" y="1681163"/>
            <a:ext cx="518251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7226090B-96AF-4F54-BAEF-7DA4254BD07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1397" y="2505075"/>
            <a:ext cx="5182513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775C4063-4D73-4D6C-811D-C5A4210088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64FA9-3BC8-4CBD-84D2-EA386FB22302}" type="datetimeFigureOut">
              <a:rPr lang="pt-BR" smtClean="0"/>
              <a:t>27/09/2019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E5A6B89F-285F-4000-9151-C628F98358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28A37911-AA90-4C47-B6AE-C30DBDBFA2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EAE790-119C-4CD4-BB11-5EEC216BD4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695792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5BED66D-3F1A-44D2-995A-FAD244E22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BA4E5D9F-EC98-46F5-87AA-72C28EC8F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64FA9-3BC8-4CBD-84D2-EA386FB22302}" type="datetimeFigureOut">
              <a:rPr lang="pt-BR" smtClean="0"/>
              <a:t>27/09/2019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83F57C0-7E36-44C1-A99D-3BE7E227E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677597DF-5A08-4FB5-8C22-4DAE14580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EAE790-119C-4CD4-BB11-5EEC216BD4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3205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627F321-14BD-4B1F-A51A-75A7157FFF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64FA9-3BC8-4CBD-84D2-EA386FB22302}" type="datetimeFigureOut">
              <a:rPr lang="pt-BR" smtClean="0"/>
              <a:t>27/09/2019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4CF076B-30BB-4A40-8306-3A1BF0A13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AAA079CF-D61B-4DE1-8ED7-03EE9F6DD5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EAE790-119C-4CD4-BB11-5EEC216BD4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71531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FBA8687-F54F-4C1E-95F3-783967387F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679" y="457200"/>
            <a:ext cx="393172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41BACF1-6B12-4D14-A1FC-4B70539874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2513" y="987426"/>
            <a:ext cx="6171397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5836FFE-7F59-43C2-A5C5-6D5D405B04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679" y="2057400"/>
            <a:ext cx="393172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D4380059-CF7A-4164-9269-71C093E154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64FA9-3BC8-4CBD-84D2-EA386FB22302}" type="datetimeFigureOut">
              <a:rPr lang="pt-BR" smtClean="0"/>
              <a:t>27/09/2019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E6ADB8D-8516-46F1-BD37-55603F8C4A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54C5AEA3-5AA9-43AF-AC69-9EDD954AC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EAE790-119C-4CD4-BB11-5EEC216BD4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03599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D60AC6F-6B7E-43BA-B9F0-70AC1596F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679" y="457200"/>
            <a:ext cx="393172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D94DB7A2-8168-4318-8FC8-357EE80FA8C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2513" y="987426"/>
            <a:ext cx="6171397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1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A357A99-67FE-4261-A7E1-41CDA2FC7D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679" y="2057400"/>
            <a:ext cx="393172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3B754F-BFA2-4E31-867D-5C295F1011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64FA9-3BC8-4CBD-84D2-EA386FB22302}" type="datetimeFigureOut">
              <a:rPr lang="pt-BR" smtClean="0"/>
              <a:t>27/09/2019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B7C74A75-4475-45D5-B467-70A8374E9A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E7BF567-873F-4510-9EA9-253125CE5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EAE790-119C-4CD4-BB11-5EEC216BD4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13781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5E99DE2-EAA7-4109-A69D-278C0D5AF3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A7522894-DD95-45A8-90D7-275A96D83D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E3EBEB0-D270-4E15-8810-9FD02C7FFC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64FA9-3BC8-4CBD-84D2-EA386FB22302}" type="datetimeFigureOut">
              <a:rPr lang="pt-BR" smtClean="0"/>
              <a:t>27/09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E5B89C3-A198-46D8-B02B-668DDD98A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F1FD2DE-A033-42F4-B2C0-6455DC312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EAE790-119C-4CD4-BB11-5EEC216BD4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345039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23C75175-5D43-4584-BFFE-B21F8F57C7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3764" y="365125"/>
            <a:ext cx="2628558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D20218EC-62C2-4937-86F6-1634204DD9C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091" y="365125"/>
            <a:ext cx="7733293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84AEF1F-43C8-436E-8DAC-AA5D65E821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64FA9-3BC8-4CBD-84D2-EA386FB22302}" type="datetimeFigureOut">
              <a:rPr lang="pt-BR" smtClean="0"/>
              <a:t>27/09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BF45C3E-580A-4647-9C84-DC60931D4F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60F9CBA-57AF-419B-8531-E84623483B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EAE790-119C-4CD4-BB11-5EEC216BD4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08661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CDB9F33-836B-4915-B13C-79B01E209756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6729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8FAAE86-FF76-44CC-A668-018373AE554F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2964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1254" userDrawn="1">
          <p15:clr>
            <a:srgbClr val="FBAE40"/>
          </p15:clr>
        </p15:guide>
        <p15:guide id="2" orient="horz" pos="4086" userDrawn="1">
          <p15:clr>
            <a:srgbClr val="FBAE40"/>
          </p15:clr>
        </p15:guide>
        <p15:guide id="3" orient="horz" pos="1162" userDrawn="1">
          <p15:clr>
            <a:srgbClr val="FBAE40"/>
          </p15:clr>
        </p15:guide>
        <p15:guide id="4" pos="421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7D638D7-8796-4CCC-8CE6-AEAD9E04E798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2297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D080DD9-49B8-4603-936C-6A08F0541BA0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pt-BR"/>
              <a:t>Clique para editar o estilo do subtítulo Mestre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6893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67E0C7B-342B-4B60-BBFA-D89E1406DD42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pt-BR"/>
              <a:t>Clique para editar o estilo do subtítulo Mestre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05661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240F759-6C5A-4A96-885E-3AC3B4871ADC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71794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619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408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CC9A96C-B18F-4A61-9FE9-4BC0ED17C09C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50464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908" userDrawn="1">
          <p15:clr>
            <a:srgbClr val="FBAE40"/>
          </p15:clr>
        </p15:guide>
        <p15:guide id="2" pos="4134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4085" userDrawn="1">
          <p15:clr>
            <a:srgbClr val="FBAE40"/>
          </p15:clr>
        </p15:guide>
        <p15:guide id="5" pos="619" userDrawn="1">
          <p15:clr>
            <a:srgbClr val="FBAE40"/>
          </p15:clr>
        </p15:guide>
        <p15:guide id="7" pos="742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8E91F6B7-D9DD-40B9-8E0F-7B4E75E5DBFB}" type="datetime1">
              <a:rPr lang="en-US" smtClean="0"/>
              <a:t>9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20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9562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4" r:id="rId1"/>
    <p:sldLayoutId id="2147484355" r:id="rId2"/>
    <p:sldLayoutId id="2147484356" r:id="rId3"/>
    <p:sldLayoutId id="2147484339" r:id="rId4"/>
    <p:sldLayoutId id="2147484340" r:id="rId5"/>
    <p:sldLayoutId id="2147484341" r:id="rId6"/>
    <p:sldLayoutId id="2147484342" r:id="rId7"/>
    <p:sldLayoutId id="2147484343" r:id="rId8"/>
    <p:sldLayoutId id="2147484344" r:id="rId9"/>
    <p:sldLayoutId id="2147484345" r:id="rId10"/>
    <p:sldLayoutId id="2147484346" r:id="rId11"/>
    <p:sldLayoutId id="2147484357" r:id="rId12"/>
    <p:sldLayoutId id="2147484358" r:id="rId13"/>
    <p:sldLayoutId id="2147484349" r:id="rId14"/>
    <p:sldLayoutId id="2147484350" r:id="rId15"/>
    <p:sldLayoutId id="2147484351" r:id="rId16"/>
    <p:sldLayoutId id="2147484352" r:id="rId17"/>
    <p:sldLayoutId id="2147484353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1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D88EAB0A-0CFC-4F6C-8F31-AD4C7B683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091" y="365126"/>
            <a:ext cx="105142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ED0D014-EDB2-4D14-8C5A-9CA6885229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091" y="1825625"/>
            <a:ext cx="10514231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E8B3D49-BACC-4000-BCE6-AA0C47942C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091" y="6356351"/>
            <a:ext cx="27428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E64FA9-3BC8-4CBD-84D2-EA386FB22302}" type="datetimeFigureOut">
              <a:rPr lang="pt-BR" smtClean="0"/>
              <a:t>27/09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B26841C-331F-4520-909A-7DA562C722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075" y="6356351"/>
            <a:ext cx="411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EEC9504-D378-4EEA-A366-FEC27639AF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9479" y="6356351"/>
            <a:ext cx="27428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EAE790-119C-4CD4-BB11-5EEC216BD4D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1097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0" r:id="rId1"/>
    <p:sldLayoutId id="2147484361" r:id="rId2"/>
    <p:sldLayoutId id="2147484362" r:id="rId3"/>
    <p:sldLayoutId id="2147484363" r:id="rId4"/>
    <p:sldLayoutId id="2147484364" r:id="rId5"/>
    <p:sldLayoutId id="2147484365" r:id="rId6"/>
    <p:sldLayoutId id="2147484366" r:id="rId7"/>
    <p:sldLayoutId id="2147484367" r:id="rId8"/>
    <p:sldLayoutId id="2147484368" r:id="rId9"/>
    <p:sldLayoutId id="2147484369" r:id="rId10"/>
    <p:sldLayoutId id="2147484370" r:id="rId11"/>
  </p:sldLayoutIdLst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B48D999-3571-4C16-9036-11415E5D228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Experimentaçã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788611-22B7-48F2-AEDE-57AEC570D8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0CF5A7-95DB-454D-94B3-D62974FC5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423E85F-625C-4C12-B075-825562D17C7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Treinamento</a:t>
            </a:r>
            <a:r>
              <a:rPr lang="en-US" dirty="0"/>
              <a:t> de Pyth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D619A09-698C-4E3C-881C-54FC53972E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Focad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Visualização</a:t>
            </a:r>
            <a:r>
              <a:rPr lang="en-US" dirty="0"/>
              <a:t> de dados</a:t>
            </a:r>
          </a:p>
        </p:txBody>
      </p:sp>
      <p:pic>
        <p:nvPicPr>
          <p:cNvPr id="11" name="Graphical code on fingertip">
            <a:extLst>
              <a:ext uri="{FF2B5EF4-FFF2-40B4-BE49-F238E27FC236}">
                <a16:creationId xmlns:a16="http://schemas.microsoft.com/office/drawing/2014/main" id="{21E4F7E7-6E2D-4B9F-8A1B-70E5C47E45EE}"/>
              </a:ext>
            </a:extLst>
          </p:cNvPr>
          <p:cNvPicPr>
            <a:picLocks noGrp="1" noChangeAspect="1"/>
          </p:cNvPicPr>
          <p:nvPr>
            <p:ph type="pic" sz="quarter" idx="14"/>
            <p:custDataLst>
              <p:tags r:id="rId1"/>
            </p:custDataLst>
          </p:nvPr>
        </p:nvPicPr>
        <p:blipFill>
          <a:blip r:embed="rId3">
            <a:extLst/>
          </a:blip>
          <a:srcRect l="2870" r="2870"/>
          <a:stretch>
            <a:fillRect/>
          </a:stretch>
        </p:blipFill>
        <p:spPr>
          <a:xfrm>
            <a:off x="4110038" y="0"/>
            <a:ext cx="8080375" cy="6858000"/>
          </a:xfrm>
        </p:spPr>
      </p:pic>
    </p:spTree>
    <p:extLst>
      <p:ext uri="{BB962C8B-B14F-4D97-AF65-F5344CB8AC3E}">
        <p14:creationId xmlns:p14="http://schemas.microsoft.com/office/powerpoint/2010/main" val="1986970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8CEE2AC-B499-4399-86A1-2369AD530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genda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6460CC3-D489-437C-8FB8-7524CE1732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05337" y="1753289"/>
            <a:ext cx="5340008" cy="4641030"/>
          </a:xfrm>
        </p:spPr>
        <p:txBody>
          <a:bodyPr/>
          <a:lstStyle/>
          <a:p>
            <a:r>
              <a:rPr lang="pt-BR" dirty="0" err="1"/>
              <a:t>First</a:t>
            </a:r>
            <a:r>
              <a:rPr lang="pt-BR" dirty="0"/>
              <a:t> </a:t>
            </a:r>
            <a:r>
              <a:rPr lang="pt-BR" dirty="0" err="1"/>
              <a:t>Half</a:t>
            </a:r>
            <a:r>
              <a:rPr lang="pt-BR" dirty="0"/>
              <a:t> (Python </a:t>
            </a:r>
            <a:r>
              <a:rPr lang="pt-BR" dirty="0" err="1"/>
              <a:t>Basics</a:t>
            </a:r>
            <a:r>
              <a:rPr lang="pt-BR" dirty="0"/>
              <a:t>):</a:t>
            </a:r>
          </a:p>
          <a:p>
            <a:pPr lvl="1"/>
            <a:r>
              <a:rPr lang="pt-BR" dirty="0"/>
              <a:t>O que é uma linguagem de Programação?</a:t>
            </a:r>
          </a:p>
          <a:p>
            <a:pPr lvl="1"/>
            <a:r>
              <a:rPr lang="pt-BR" dirty="0"/>
              <a:t>Porque, Python?</a:t>
            </a:r>
          </a:p>
          <a:p>
            <a:pPr lvl="1"/>
            <a:r>
              <a:rPr lang="pt-BR" dirty="0" err="1"/>
              <a:t>Intro</a:t>
            </a:r>
            <a:r>
              <a:rPr lang="pt-BR" dirty="0"/>
              <a:t> para os </a:t>
            </a:r>
            <a:r>
              <a:rPr lang="pt-BR" dirty="0" err="1"/>
              <a:t>Jupyter</a:t>
            </a:r>
            <a:r>
              <a:rPr lang="pt-BR" dirty="0"/>
              <a:t> Notebooks:</a:t>
            </a:r>
          </a:p>
          <a:p>
            <a:pPr lvl="2"/>
            <a:r>
              <a:rPr lang="pt-BR" dirty="0"/>
              <a:t>Princípios.</a:t>
            </a:r>
          </a:p>
          <a:p>
            <a:pPr lvl="2"/>
            <a:r>
              <a:rPr lang="pt-BR" dirty="0"/>
              <a:t>Como usar e seus comandos.</a:t>
            </a:r>
          </a:p>
          <a:p>
            <a:pPr lvl="1"/>
            <a:r>
              <a:rPr lang="pt-BR" dirty="0"/>
              <a:t>Comandos Básicos com Python.</a:t>
            </a:r>
          </a:p>
          <a:p>
            <a:pPr lvl="1"/>
            <a:r>
              <a:rPr lang="pt-BR" dirty="0" err="1"/>
              <a:t>If,Else</a:t>
            </a:r>
            <a:r>
              <a:rPr lang="pt-BR" dirty="0"/>
              <a:t>, </a:t>
            </a:r>
            <a:r>
              <a:rPr lang="pt-BR" dirty="0" err="1"/>
              <a:t>Elif,For,While,Def</a:t>
            </a:r>
            <a:r>
              <a:rPr lang="pt-BR" dirty="0"/>
              <a:t>.</a:t>
            </a:r>
          </a:p>
          <a:p>
            <a:pPr lvl="1"/>
            <a:r>
              <a:rPr lang="pt-BR" dirty="0" err="1"/>
              <a:t>Listas,Tuplas</a:t>
            </a:r>
            <a:r>
              <a:rPr lang="pt-BR" dirty="0"/>
              <a:t> e </a:t>
            </a:r>
            <a:r>
              <a:rPr lang="pt-BR" dirty="0" err="1"/>
              <a:t>Dicionarios</a:t>
            </a:r>
            <a:r>
              <a:rPr lang="pt-BR" dirty="0"/>
              <a:t>.</a:t>
            </a:r>
          </a:p>
          <a:p>
            <a:pPr lvl="1"/>
            <a:r>
              <a:rPr lang="pt-BR" dirty="0"/>
              <a:t>Introdução a Bibliotecas e </a:t>
            </a:r>
            <a:r>
              <a:rPr lang="pt-BR" dirty="0" err="1"/>
              <a:t>Import</a:t>
            </a:r>
            <a:endParaRPr lang="pt-BR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761EE3D-2362-4927-8064-E1D03BB647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D2E96435-0525-406E-BA1A-5AABC91DE0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7703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8CEE2AC-B499-4399-86A1-2369AD530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genda – </a:t>
            </a:r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Half</a:t>
            </a:r>
            <a:endParaRPr lang="pt-BR" dirty="0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6460CC3-D489-437C-8FB8-7524CE1732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05336" y="1753289"/>
            <a:ext cx="6053442" cy="4641030"/>
          </a:xfrm>
        </p:spPr>
        <p:txBody>
          <a:bodyPr/>
          <a:lstStyle/>
          <a:p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Half</a:t>
            </a:r>
            <a:r>
              <a:rPr lang="pt-BR" dirty="0"/>
              <a:t> (Data </a:t>
            </a:r>
            <a:r>
              <a:rPr lang="pt-BR" dirty="0" err="1"/>
              <a:t>Manipulation</a:t>
            </a:r>
            <a:r>
              <a:rPr lang="pt-BR" dirty="0"/>
              <a:t>):</a:t>
            </a:r>
          </a:p>
          <a:p>
            <a:pPr lvl="1"/>
            <a:r>
              <a:rPr lang="pt-BR" dirty="0"/>
              <a:t>O que é Pandas?</a:t>
            </a:r>
          </a:p>
          <a:p>
            <a:pPr lvl="1"/>
            <a:r>
              <a:rPr lang="pt-BR" dirty="0"/>
              <a:t>O que são </a:t>
            </a:r>
            <a:r>
              <a:rPr lang="pt-BR" dirty="0" err="1"/>
              <a:t>DataFrames</a:t>
            </a:r>
            <a:r>
              <a:rPr lang="pt-BR" dirty="0"/>
              <a:t> e Series?</a:t>
            </a:r>
          </a:p>
          <a:p>
            <a:pPr lvl="1"/>
            <a:r>
              <a:rPr lang="pt-BR" dirty="0"/>
              <a:t>Função </a:t>
            </a:r>
            <a:r>
              <a:rPr lang="pt-BR" dirty="0" err="1"/>
              <a:t>read</a:t>
            </a:r>
            <a:r>
              <a:rPr lang="pt-BR" dirty="0"/>
              <a:t>_</a:t>
            </a:r>
          </a:p>
          <a:p>
            <a:pPr lvl="1"/>
            <a:r>
              <a:rPr lang="pt-BR" dirty="0"/>
              <a:t>Como tratar seu </a:t>
            </a:r>
            <a:r>
              <a:rPr lang="pt-BR" dirty="0" err="1"/>
              <a:t>DataFrame</a:t>
            </a:r>
            <a:r>
              <a:rPr lang="pt-BR" dirty="0"/>
              <a:t>.</a:t>
            </a:r>
          </a:p>
          <a:p>
            <a:pPr lvl="1"/>
            <a:r>
              <a:rPr lang="pt-BR" dirty="0" err="1"/>
              <a:t>loc</a:t>
            </a:r>
            <a:r>
              <a:rPr lang="pt-BR" dirty="0"/>
              <a:t>, </a:t>
            </a:r>
            <a:r>
              <a:rPr lang="pt-BR" dirty="0" err="1"/>
              <a:t>iloc</a:t>
            </a:r>
            <a:r>
              <a:rPr lang="pt-BR" dirty="0"/>
              <a:t>, </a:t>
            </a:r>
            <a:r>
              <a:rPr lang="pt-BR" dirty="0" err="1"/>
              <a:t>rename</a:t>
            </a:r>
            <a:r>
              <a:rPr lang="pt-BR" dirty="0"/>
              <a:t>, </a:t>
            </a:r>
            <a:r>
              <a:rPr lang="pt-BR" dirty="0" err="1"/>
              <a:t>drop</a:t>
            </a:r>
            <a:r>
              <a:rPr lang="pt-BR" dirty="0"/>
              <a:t>, merge, </a:t>
            </a:r>
            <a:r>
              <a:rPr lang="pt-BR" dirty="0" err="1"/>
              <a:t>concat</a:t>
            </a:r>
            <a:r>
              <a:rPr lang="pt-BR" dirty="0"/>
              <a:t>, </a:t>
            </a:r>
            <a:r>
              <a:rPr lang="pt-BR" dirty="0" err="1"/>
              <a:t>join</a:t>
            </a:r>
            <a:endParaRPr lang="pt-BR" dirty="0"/>
          </a:p>
          <a:p>
            <a:pPr lvl="1"/>
            <a:r>
              <a:rPr lang="pt-BR" dirty="0" err="1"/>
              <a:t>GroupBy</a:t>
            </a:r>
            <a:endParaRPr lang="pt-BR" dirty="0"/>
          </a:p>
          <a:p>
            <a:pPr lvl="1"/>
            <a:r>
              <a:rPr lang="pt-BR" dirty="0"/>
              <a:t>Looping </a:t>
            </a:r>
            <a:r>
              <a:rPr lang="pt-BR" dirty="0" err="1"/>
              <a:t>Through</a:t>
            </a:r>
            <a:r>
              <a:rPr lang="pt-BR" dirty="0"/>
              <a:t> </a:t>
            </a:r>
            <a:r>
              <a:rPr lang="pt-BR" dirty="0" err="1"/>
              <a:t>DataFrames</a:t>
            </a:r>
            <a:endParaRPr lang="pt-BR" dirty="0"/>
          </a:p>
          <a:p>
            <a:pPr lvl="1"/>
            <a:r>
              <a:rPr lang="pt-BR" dirty="0"/>
              <a:t>Função </a:t>
            </a:r>
            <a:r>
              <a:rPr lang="pt-BR" dirty="0" err="1"/>
              <a:t>to</a:t>
            </a:r>
            <a:r>
              <a:rPr lang="pt-BR" dirty="0"/>
              <a:t>_</a:t>
            </a:r>
          </a:p>
          <a:p>
            <a:r>
              <a:rPr lang="pt-BR" dirty="0"/>
              <a:t>Dúvidas gerais até o momento?</a:t>
            </a:r>
          </a:p>
          <a:p>
            <a:r>
              <a:rPr lang="pt-BR" dirty="0" err="1"/>
              <a:t>Small</a:t>
            </a:r>
            <a:r>
              <a:rPr lang="pt-BR" dirty="0"/>
              <a:t> Project – Clean </a:t>
            </a:r>
            <a:r>
              <a:rPr lang="pt-BR" dirty="0" err="1"/>
              <a:t>your</a:t>
            </a:r>
            <a:r>
              <a:rPr lang="pt-BR" dirty="0"/>
              <a:t> </a:t>
            </a:r>
            <a:r>
              <a:rPr lang="pt-BR" dirty="0" err="1"/>
              <a:t>own</a:t>
            </a:r>
            <a:r>
              <a:rPr lang="pt-BR" dirty="0"/>
              <a:t> </a:t>
            </a:r>
            <a:r>
              <a:rPr lang="pt-BR" dirty="0" err="1"/>
              <a:t>database</a:t>
            </a:r>
            <a:r>
              <a:rPr lang="pt-BR"/>
              <a:t>.</a:t>
            </a:r>
            <a:endParaRPr lang="pt-BR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761EE3D-2362-4927-8064-E1D03BB647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D2E96435-0525-406E-BA1A-5AABC91DE0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958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3962611-DFD5-4092-AAFD-559E3DFCE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5426" y="447"/>
            <a:ext cx="10908871" cy="6857107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270F1FA-0425-408F-9861-80BF5AFB2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47"/>
            <a:ext cx="12190413" cy="685710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1DEB9EDC-7E1C-4A02-88FF-1FFCE46A11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4971" y="2043844"/>
            <a:ext cx="6104399" cy="2030791"/>
          </a:xfrm>
        </p:spPr>
        <p:txBody>
          <a:bodyPr>
            <a:normAutofit/>
          </a:bodyPr>
          <a:lstStyle/>
          <a:p>
            <a:r>
              <a:rPr lang="pt-BR" sz="4700" dirty="0">
                <a:solidFill>
                  <a:srgbClr val="FFFFFF"/>
                </a:solidFill>
              </a:rPr>
              <a:t>O que é uma linguagem de Programação?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E2C9C2E-82F9-4A96-874E-E164F37891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4971" y="4074635"/>
            <a:ext cx="6104399" cy="681990"/>
          </a:xfrm>
        </p:spPr>
        <p:txBody>
          <a:bodyPr>
            <a:normAutofit/>
          </a:bodyPr>
          <a:lstStyle/>
          <a:p>
            <a:endParaRPr lang="pt-B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9541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652114"/>
            <a:ext cx="12190413" cy="73645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371B08D-025F-4504-8BE0-64308BA26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460" y="643830"/>
            <a:ext cx="11209465" cy="744739"/>
          </a:xfrm>
        </p:spPr>
        <p:txBody>
          <a:bodyPr vert="horz" lIns="91428" tIns="45714" rIns="91428" bIns="45714" rtlCol="0" anchor="ctr">
            <a:normAutofit/>
          </a:bodyPr>
          <a:lstStyle/>
          <a:p>
            <a:pPr algn="ctr"/>
            <a:r>
              <a:rPr lang="en-US" sz="3200">
                <a:solidFill>
                  <a:schemeClr val="bg1"/>
                </a:solidFill>
              </a:rPr>
              <a:t>Porque usar Python?</a:t>
            </a:r>
          </a:p>
        </p:txBody>
      </p:sp>
      <p:pic>
        <p:nvPicPr>
          <p:cNvPr id="7" name="Espaço Reservado para Conteúdo 6">
            <a:extLst>
              <a:ext uri="{FF2B5EF4-FFF2-40B4-BE49-F238E27FC236}">
                <a16:creationId xmlns:a16="http://schemas.microsoft.com/office/drawing/2014/main" id="{752D8353-9BF7-469E-A679-E4F05AB6890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329" y="1716311"/>
            <a:ext cx="4311089" cy="4311089"/>
          </a:xfrm>
        </p:spPr>
      </p:pic>
      <p:pic>
        <p:nvPicPr>
          <p:cNvPr id="5" name="Espaço Reservado para Conteúdo 4">
            <a:extLst>
              <a:ext uri="{FF2B5EF4-FFF2-40B4-BE49-F238E27FC236}">
                <a16:creationId xmlns:a16="http://schemas.microsoft.com/office/drawing/2014/main" id="{BFB6B89F-2E4F-4B46-8560-ABE5964D9A5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2" r="3" b="3"/>
          <a:stretch/>
        </p:blipFill>
        <p:spPr>
          <a:xfrm>
            <a:off x="5126958" y="1716311"/>
            <a:ext cx="6326951" cy="4311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4761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Espaço Reservado para Conteúdo 3">
            <a:extLst>
              <a:ext uri="{FF2B5EF4-FFF2-40B4-BE49-F238E27FC236}">
                <a16:creationId xmlns:a16="http://schemas.microsoft.com/office/drawing/2014/main" id="{C6227926-2143-4135-AB78-A4F74B97DF7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5996" b="-1"/>
          <a:stretch/>
        </p:blipFill>
        <p:spPr>
          <a:xfrm>
            <a:off x="6184245" y="456"/>
            <a:ext cx="5996851" cy="6857097"/>
          </a:xfrm>
          <a:custGeom>
            <a:avLst/>
            <a:gdLst>
              <a:gd name="connsiteX0" fmla="*/ 0 w 5997632"/>
              <a:gd name="connsiteY0" fmla="*/ 0 h 6858000"/>
              <a:gd name="connsiteX1" fmla="*/ 5997632 w 5997632"/>
              <a:gd name="connsiteY1" fmla="*/ 0 h 6858000"/>
              <a:gd name="connsiteX2" fmla="*/ 5997632 w 5997632"/>
              <a:gd name="connsiteY2" fmla="*/ 6858000 h 6858000"/>
              <a:gd name="connsiteX3" fmla="*/ 3178693 w 599763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7632" h="6858000">
                <a:moveTo>
                  <a:pt x="0" y="0"/>
                </a:moveTo>
                <a:lnTo>
                  <a:pt x="5997632" y="0"/>
                </a:lnTo>
                <a:lnTo>
                  <a:pt x="5997632" y="6858000"/>
                </a:lnTo>
                <a:lnTo>
                  <a:pt x="3178693" y="6858000"/>
                </a:lnTo>
                <a:close/>
              </a:path>
            </a:pathLst>
          </a:cu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35BA5007-1FB0-4142-990E-EA257945F99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98" r="1" b="16699"/>
          <a:stretch/>
        </p:blipFill>
        <p:spPr>
          <a:xfrm>
            <a:off x="-1" y="456"/>
            <a:ext cx="9140554" cy="6857097"/>
          </a:xfrm>
          <a:custGeom>
            <a:avLst/>
            <a:gdLst>
              <a:gd name="connsiteX0" fmla="*/ 0 w 9141744"/>
              <a:gd name="connsiteY0" fmla="*/ 0 h 6863485"/>
              <a:gd name="connsiteX1" fmla="*/ 5963051 w 9141744"/>
              <a:gd name="connsiteY1" fmla="*/ 0 h 6863485"/>
              <a:gd name="connsiteX2" fmla="*/ 9141744 w 9141744"/>
              <a:gd name="connsiteY2" fmla="*/ 6863485 h 6863485"/>
              <a:gd name="connsiteX3" fmla="*/ 0 w 9141744"/>
              <a:gd name="connsiteY3" fmla="*/ 6863485 h 6863485"/>
              <a:gd name="connsiteX4" fmla="*/ 0 w 9141744"/>
              <a:gd name="connsiteY4" fmla="*/ 0 h 6863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1744" h="6863485">
                <a:moveTo>
                  <a:pt x="0" y="0"/>
                </a:moveTo>
                <a:lnTo>
                  <a:pt x="5963051" y="0"/>
                </a:lnTo>
                <a:lnTo>
                  <a:pt x="9141744" y="6863485"/>
                </a:lnTo>
                <a:lnTo>
                  <a:pt x="0" y="6863485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37FEB674-D811-4FFE-A878-29D0C0ED18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774063"/>
            <a:ext cx="6433945" cy="3309875"/>
          </a:xfrm>
          <a:custGeom>
            <a:avLst/>
            <a:gdLst>
              <a:gd name="connsiteX0" fmla="*/ 0 w 6434783"/>
              <a:gd name="connsiteY0" fmla="*/ 0 h 3310306"/>
              <a:gd name="connsiteX1" fmla="*/ 3829872 w 6434783"/>
              <a:gd name="connsiteY1" fmla="*/ 0 h 3310306"/>
              <a:gd name="connsiteX2" fmla="*/ 4896100 w 6434783"/>
              <a:gd name="connsiteY2" fmla="*/ 0 h 3310306"/>
              <a:gd name="connsiteX3" fmla="*/ 4901677 w 6434783"/>
              <a:gd name="connsiteY3" fmla="*/ 0 h 3310306"/>
              <a:gd name="connsiteX4" fmla="*/ 6434783 w 6434783"/>
              <a:gd name="connsiteY4" fmla="*/ 3310306 h 3310306"/>
              <a:gd name="connsiteX5" fmla="*/ 0 w 6434783"/>
              <a:gd name="connsiteY5" fmla="*/ 3310306 h 3310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34783" h="3310306">
                <a:moveTo>
                  <a:pt x="0" y="0"/>
                </a:moveTo>
                <a:lnTo>
                  <a:pt x="3829872" y="0"/>
                </a:lnTo>
                <a:lnTo>
                  <a:pt x="4896100" y="0"/>
                </a:lnTo>
                <a:lnTo>
                  <a:pt x="4901677" y="0"/>
                </a:lnTo>
                <a:lnTo>
                  <a:pt x="6434783" y="3310306"/>
                </a:lnTo>
                <a:lnTo>
                  <a:pt x="0" y="3310306"/>
                </a:lnTo>
                <a:close/>
              </a:path>
            </a:pathLst>
          </a:custGeom>
          <a:solidFill>
            <a:schemeClr val="bg1">
              <a:lumMod val="85000"/>
              <a:lumOff val="15000"/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309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CCDB3D5-21AE-4E83-8284-AF3539A931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7984" y="2166886"/>
            <a:ext cx="3885693" cy="914916"/>
          </a:xfrm>
        </p:spPr>
        <p:txBody>
          <a:bodyPr>
            <a:normAutofit/>
          </a:bodyPr>
          <a:lstStyle/>
          <a:p>
            <a:r>
              <a:rPr lang="pt-BR" sz="3600"/>
              <a:t>Jupyter Notebook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1DE33AD-C6C8-4E70-BCE2-D04D65FD4D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7983" y="3081801"/>
            <a:ext cx="4619942" cy="1775763"/>
          </a:xfrm>
        </p:spPr>
        <p:txBody>
          <a:bodyPr>
            <a:normAutofit/>
          </a:bodyPr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1025751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3375A63-7575-4F42-9560-7CDE508D3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Vamos para a prática </a:t>
            </a:r>
            <a:r>
              <a:rPr lang="pt-BR" dirty="0">
                <a:sym typeface="Wingdings" panose="05000000000000000000" pitchFamily="2" charset="2"/>
              </a:rPr>
              <a:t></a:t>
            </a:r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7D13A7A7-B7D8-4E98-BBB3-496B7EEC12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54D5C0C-A1B5-4FEB-914C-AECD1CBEA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Subtítulo 4">
            <a:extLst>
              <a:ext uri="{FF2B5EF4-FFF2-40B4-BE49-F238E27FC236}">
                <a16:creationId xmlns:a16="http://schemas.microsoft.com/office/drawing/2014/main" id="{E4D88124-EC71-4D2F-9AE2-5373D74CD64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60587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UNDO_REDO_REVISIO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085577b-32d0-4c88-9cee-b6815305c17c"/>
  <p:tag name="MIO_GUID" val="2e6d3393-6498-490d-8da3-723db083cc69"/>
  <p:tag name="MIO_UPDATE" val="True"/>
  <p:tag name="MIO_VERSION" val="27.08.2018 11:23:52"/>
  <p:tag name="MIO_DBID" val="8E7267AE-489F-4B02-8040-8A98451BF141"/>
  <p:tag name="MIO_LASTDOWNLOADED" val="25.09.2019 09:49:57"/>
  <p:tag name="MIO_OBJECTNAME" val="Graphical code on fingertip"/>
  <p:tag name="MIO_LASTEDITORNAME" val="empower enterpri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8"/>
  <p:tag name="MIO_HDS" val="True"/>
  <p:tag name="MIO_SKIPVERSION" val="01.01.0001 00:00:00"/>
  <p:tag name="MIO_EKGUID" val="106612b7-7cda-4c66-a943-3c88b56a92d2"/>
  <p:tag name="MIO_UPDATE" val="True"/>
  <p:tag name="MIO_VERSION" val="27.11.2018 09:18:57"/>
  <p:tag name="MIO_DBID" val="8E7267AE-489F-4B02-8040-8A98451BF141"/>
  <p:tag name="MIO_LASTDOWNLOADED" val="25.09.2019 09:25:33"/>
  <p:tag name="MIO_OBJECTNAME" val="Master Bayer AG 16:9"/>
  <p:tag name="MIO_CDID" val="cd9a71c7-8ed9-41a1-8303-1a6d198585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Default Theme.pptx" id="{CE2AFDCA-2020-4A2B-9B6E-D01481D22909}" vid="{9A7912B4-7FCA-4311-A7ED-2D9D5081CB31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F6ADBE093453648886D1CE3F90DD268" ma:contentTypeVersion="10" ma:contentTypeDescription="Create a new document." ma:contentTypeScope="" ma:versionID="2bef2b026411404618ac0fd9853a539d">
  <xsd:schema xmlns:xsd="http://www.w3.org/2001/XMLSchema" xmlns:xs="http://www.w3.org/2001/XMLSchema" xmlns:p="http://schemas.microsoft.com/office/2006/metadata/properties" xmlns:ns3="761fe63b-cbc7-4b19-ac61-35e1238855f3" xmlns:ns4="5ec14cb0-a2ec-419c-b437-5bb487ac9777" targetNamespace="http://schemas.microsoft.com/office/2006/metadata/properties" ma:root="true" ma:fieldsID="8ac42eeb66d5a1b18cc0d65a531ac0a7" ns3:_="" ns4:_="">
    <xsd:import namespace="761fe63b-cbc7-4b19-ac61-35e1238855f3"/>
    <xsd:import namespace="5ec14cb0-a2ec-419c-b437-5bb487ac977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DateTaken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1fe63b-cbc7-4b19-ac61-35e1238855f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c14cb0-a2ec-419c-b437-5bb487ac97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C0283EB-A5D1-4F5F-AB49-218710D88927}">
  <ds:schemaRefs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5ec14cb0-a2ec-419c-b437-5bb487ac9777"/>
    <ds:schemaRef ds:uri="http://purl.org/dc/elements/1.1/"/>
    <ds:schemaRef ds:uri="761fe63b-cbc7-4b19-ac61-35e1238855f3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BDB0103F-9A7D-474B-97DB-51FFB322767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65F4EE0-8019-4F05-87BC-C6DC5171BF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1fe63b-cbc7-4b19-ac61-35e1238855f3"/>
    <ds:schemaRef ds:uri="5ec14cb0-a2ec-419c-b437-5bb487ac97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26</TotalTime>
  <Words>185</Words>
  <Application>Microsoft Office PowerPoint</Application>
  <PresentationFormat>Personalizar</PresentationFormat>
  <Paragraphs>38</Paragraphs>
  <Slides>7</Slides>
  <Notes>0</Notes>
  <HiddenSlides>0</HiddenSlides>
  <MMClips>0</MMClips>
  <ScaleCrop>false</ScaleCrop>
  <HeadingPairs>
    <vt:vector size="6" baseType="variant">
      <vt:variant>
        <vt:lpstr>Fontes usadas</vt:lpstr>
      </vt:variant>
      <vt:variant>
        <vt:i4>3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7</vt:i4>
      </vt:variant>
    </vt:vector>
  </HeadingPairs>
  <TitlesOfParts>
    <vt:vector size="12" baseType="lpstr">
      <vt:lpstr>Arial</vt:lpstr>
      <vt:lpstr>Calibri</vt:lpstr>
      <vt:lpstr>Calibri Light</vt:lpstr>
      <vt:lpstr>PR_BAG_PPT-master_16-9</vt:lpstr>
      <vt:lpstr>Tema do Office</vt:lpstr>
      <vt:lpstr>Treinamento de Python</vt:lpstr>
      <vt:lpstr>Agenda</vt:lpstr>
      <vt:lpstr>Agenda – Second Half</vt:lpstr>
      <vt:lpstr>O que é uma linguagem de Programação?</vt:lpstr>
      <vt:lpstr>Porque usar Python?</vt:lpstr>
      <vt:lpstr>Jupyter Notebooks</vt:lpstr>
      <vt:lpstr>Vamos para a prática 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einamento de Python</dc:title>
  <dc:creator>Leandro Sartini</dc:creator>
  <cp:lastModifiedBy>Leandro Sartini</cp:lastModifiedBy>
  <cp:revision>10</cp:revision>
  <cp:lastPrinted>2017-10-23T10:44:12Z</cp:lastPrinted>
  <dcterms:created xsi:type="dcterms:W3CDTF">2019-09-25T12:46:32Z</dcterms:created>
  <dcterms:modified xsi:type="dcterms:W3CDTF">2019-09-27T11:40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ContentTypeId">
    <vt:lpwstr>0x0101001F6ADBE093453648886D1CE3F90DD268</vt:lpwstr>
  </property>
</Properties>
</file>